
<file path=[Content_Types].xml><?xml version="1.0" encoding="utf-8"?>
<Types xmlns="http://schemas.openxmlformats.org/package/2006/content-types">
  <Default Extension="jpeg" ContentType="image/jpeg"/>
  <Default Extension="jpg" ContentType="application/octet-stream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6"/>
    <p:sldId id="257" r:id="rId7"/>
    <p:sldId id="258" r:id="rId8"/>
    <p:sldId id="259" r:id="rId9"/>
  </p:sldIdLst>
  <p:sldSz cx="12192000" cy="6858000"/>
  <p:notesSz cx="6858000" cy="91440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 showGuides="1">
      <p:cViewPr varScale="1">
        <p:scale>
          <a:sx n="120" d="100"/>
          <a:sy n="120" d="100"/>
        </p:scale>
        <p:origin x="120" y="2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presProps" Target="presProps.xml"/><Relationship Id="rId4" Type="http://schemas.openxmlformats.org/officeDocument/2006/relationships/viewProps" Target="viewProps.xml"/><Relationship Id="rId5" Type="http://schemas.openxmlformats.org/officeDocument/2006/relationships/tableStyles" Target="tableStyles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9" Type="http://schemas.openxmlformats.org/officeDocument/2006/relationships/slide" Target="slides/slide4.xml"/></Relationships>

</file>

<file path=ppt/slideLayouts/_rels/slideLayout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89DD6B-B44D-4F8D-9DFE-63F40617EF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488605-1E66-43CA-B886-D0CA51B20B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0365F1-42C5-4ACD-B328-C5AD3CFF6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D8DB2E-1AE4-478F-A54D-2FE33969EB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114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D9FCA1-E7E7-49E8-B097-160762DD9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7EDC4D-4A8A-4A92-B93F-430E124160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B3F2EE-AB9F-4C4B-88E1-1AA9116FF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112272-72A4-4844-992F-265D7DF5E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83C416-EBF3-4B0A-8327-997E136130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870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F7888FE-E8D9-4EAE-A425-9BC7D1B557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AD4BC3-DEC5-4818-9AD3-65E396B996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AB1626-1218-4FCA-BBCA-03F23B2794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1463D8-A441-46B2-AF58-996520FF4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2C32E4-EEB2-4355-B9DC-ABB91674A4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1434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4C9424-07D4-4C76-819F-64E82AAF73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1303EE-EF3B-4E66-B535-F6BC60C80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24D4A0-E173-4C8C-A3C7-70BECD7A3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57449B-30B7-4E06-8023-8367C3180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103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F309C3-69F2-499C-89FA-7168A9906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F8B972-CF8C-4F77-A121-5D391DBE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EB703F-2543-402E-9A2F-26548421A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319755-EBDD-4AEF-8EAF-176E90D17D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A586C8-76AB-4093-871A-31DC92AAB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7399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48507-AF1B-4C04-AAA3-BF685D13F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C39ED8-B2AF-4D97-A9F5-AC406DCCF4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265C8B-6E01-44D0-A1C9-EDBB6A91E3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FCB45F-F3CF-4E42-B20D-564B41CC8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3C3183-E022-4254-AF07-C3CFCC7A8A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4D240-958A-4DB8-9505-EEC787AC1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3635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CBC3D-2716-460B-9B26-776D0B26E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C6AE71-B689-4CB8-B7D4-2B1341F928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FAFC9D-88F4-4CCA-965E-2EE76569BC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F3DFF3-FF77-4F47-9351-FABEBDF5DA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BE6503-5E48-440F-B5A4-060E0CBD1B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7021F0F-168E-4DF4-AD63-4BABC185B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F11F4AC-8A94-4B80-A78D-80E45EA00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562A3E-479D-493E-8D16-89A4BDFB4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6996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175740-5090-4D62-82A2-21EF10420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807E2C-4A61-4AB2-BC74-D86200F489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8F14E2-13C4-4462-9F5B-46F36838C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97C0E3-E4C2-41F0-8F85-02C2285EA8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928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020F80-92B8-4C12-86CA-BC8B6619E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0E716D-1D92-46B8-A253-0568CDC08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477B3A-7BE6-4B71-A010-0FA1A67325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820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100E0-3892-4AD7-B58B-C33BCFB19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8579D5-8BFC-49BB-915B-FC7FD2A546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CDB781-4CB3-4237-A519-1B1BDDBF32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38CDFC-8698-4129-B366-EDEADCFB07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B8F9CB-AE56-491A-BE9A-37D88EE0F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A6FA09-2D2D-4758-A700-DBF5D1184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8991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EAAF6F-E04C-4D6C-9571-61FEA62C8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919653-E08D-4EAE-AE23-9ED10299DA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483899-16E8-4DAA-92DD-B388A2D4F8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79BA4C-08DC-4A77-82C6-5960DFBE2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F6EB9E-98E8-456C-8BFD-4B998D14A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5FB85B-FBD7-4FEC-A143-483D315846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617668"/>
      </p:ext>
    </p:extLst>
  </p:cSld>
  <p:clrMapOvr>
    <a:masterClrMapping/>
  </p:clrMapOvr>
</p:sldLayout>
</file>

<file path=ppt/slideMasters/_rels/slideMaster1.xml.rels><?xml version="1.0" encoding="UTF-8" standalone="yes"?>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0E8BA70-677D-4F30-A142-BF6DAD682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AB8C3-70E0-4C6B-BFED-E0FFF73345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550E77-A39E-41BB-91B9-10830C2A3E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B11B2D-BC01-4C21-92E7-B17EC3705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07B57-4D42-446A-9CD8-308E059DE7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549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.xml"/></Relationships>

</file>

<file path=ppt/slides/_rels/slide2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/Relationships>

</file>

<file path=ppt/slides/_rels/slide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jl_6nGhCTSf6b.png"/><Relationship Id="rId3" Type="http://schemas.openxmlformats.org/officeDocument/2006/relationships/image" Target="../media/jl_OJ4FaL4XSf.png"/></Relationships>

</file>

<file path=ppt/slides/_rels/slide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jl_YJGdgZsH0L.png"/></Relationships>
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Equations, Pictures, and Plots</a:t>
            </a:r>
          </a:p>
        </p:txBody>
      </p:sp>
    </p:spTree>
  </p:cSld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"/>
          <p:cNvSpPr txBox="1"/>
          <p:nvPr/>
        </p:nvSpPr>
        <p:spPr>
          <a:xfrm>
            <a:off x="1800000" y="1800000"/>
            <a:ext cx="10945368" cy="6172200"/>
          </a:xfrm>
          <a:prstGeomt prst="rect">
            <a:avLst/>
          </a:prstGeomt>
          <a:noFill/>
        </p:spPr>
        <p:txBody>
          <a:bodyPr wrap="square" rtlCol="0">
            <a:spAutoFit/>
          </a:bodyPr>
          <a:lstStyle/>
          <a:p>
            <a:r>
              <a:rPr lang="en-US" dirty="0"/>
              <a:t>- Text passed to a slide is in `String` format
- It is not Markdown
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ful Tips</a:t>
            </a:r>
          </a:p>
        </p:txBody>
      </p:sp>
    </p:spTree>
  </p:cSld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152" y="3429000"/>
            <a:ext cx="1440000" cy="312853"/>
          </a:xfrm>
          <a:prstGeom prst="rect">
            <a:avLst/>
          </a:prstGeom>
        </p:spPr>
      </p:pic>
      <p:pic>
        <p:nvPicPr>
          <p:cNvPr id="3" name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6912" y="3429000"/>
            <a:ext cx="1440000" cy="133593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quations</a:t>
            </a:r>
          </a:p>
        </p:txBody>
      </p:sp>
    </p:spTree>
  </p:cSld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152" y="685800"/>
            <a:ext cx="1440000" cy="960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ots</a:t>
            </a:r>
          </a:p>
        </p:txBody>
      </p:sp>
    </p:spTree>
  </p:cSld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IAAAAAAAAAAwAAAAMAAAAA/////wQAAwwAAAAAAAAAAAAAIAD///////////////8AAAD///////////////8DAAAAAwD///////8DAAAAAw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5VBYcffAqlClq5LVDfNzVAFAAAAAAADAAAAAwADAAAAAQADAAAAAwD///////8DAAAAAAD///////8DAAAAAAD///////8DAAAAAAD///////8DAAAAAAD///////8DAAIA////////BAAAAAMAEAALoUXUT6AbzEqemQRPtGWM9Q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VBYcffAqlClq5LVDfNzVADRGF0YQAbAAAABExpbmtlZFNoYXBlRGF0YQAFAAAAAAACTmFtZQAZAAAATGlua2VkU2hhcGVzRGF0YVByb3BlcnR5ABBWZXJzaW9uAAAAAAAJTGFzdFdyaXRlANUp5XN/AQAAAAEA/////8YAxgAAAAVfaWQAEAAAAAShRdRPoBvMSp6ZBE+0ZYz1A0RhdGEAUwAAAAhQcmVzZW50YXRpb25TY2FubmVkRm9yTGlua2VkU2hhcGVzAAECTnVtYmVyRm9ybWF0U2VwYXJhdG9yTW9kZQAKAAAAQXV0b21hdGljAAACTmFtZQAkAAAATGlua2VkU2hhcGVQcmVzZW50YXRpb25TZXR0aW5nc0RhdGEAEFZlcnNpb24AAAAAAAlMYXN0V3JpdGUAVCrlc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Widescreen</PresentationFormat>
  <Paragraphs>0</Paragraphs>
  <Slides>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4" baseType="lpstr">
      <vt:lpstr>Arial</vt:lpstr>
      <vt:lpstr>Calibri</vt:lpstr>
      <vt:lpstr>Calibri Light</vt:lpstr>
      <vt:lpstr>Office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ander de Vries</dc:creator>
  <cp:lastModifiedBy>Xander de Vries</cp:lastModifiedBy>
  <cp:revision>2</cp:revision>
  <dcterms:created xsi:type="dcterms:W3CDTF">2022-03-10T12:54:31Z</dcterms:created>
  <dcterms:modified xsi:type="dcterms:W3CDTF">2022-03-10T14:0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6a2fad9-126f-43f1-a0a4-9c907561022c_Enabled">
    <vt:lpwstr>true</vt:lpwstr>
  </property>
  <property fmtid="{D5CDD505-2E9C-101B-9397-08002B2CF9AE}" pid="3" name="MSIP_Label_f6a2fad9-126f-43f1-a0a4-9c907561022c_SetDate">
    <vt:lpwstr>2022-03-10T12:54:49Z</vt:lpwstr>
  </property>
  <property fmtid="{D5CDD505-2E9C-101B-9397-08002B2CF9AE}" pid="4" name="MSIP_Label_f6a2fad9-126f-43f1-a0a4-9c907561022c_Method">
    <vt:lpwstr>Privileged</vt:lpwstr>
  </property>
  <property fmtid="{D5CDD505-2E9C-101B-9397-08002B2CF9AE}" pid="5" name="MSIP_Label_f6a2fad9-126f-43f1-a0a4-9c907561022c_Name">
    <vt:lpwstr>Non-Business</vt:lpwstr>
  </property>
  <property fmtid="{D5CDD505-2E9C-101B-9397-08002B2CF9AE}" pid="6" name="MSIP_Label_f6a2fad9-126f-43f1-a0a4-9c907561022c_SiteId">
    <vt:lpwstr>af73baa8-f594-4eb2-a39d-93e96cad61fc</vt:lpwstr>
  </property>
  <property fmtid="{D5CDD505-2E9C-101B-9397-08002B2CF9AE}" pid="7" name="MSIP_Label_f6a2fad9-126f-43f1-a0a4-9c907561022c_ActionId">
    <vt:lpwstr>784cf0a6-f669-4551-9956-e007f73cb639</vt:lpwstr>
  </property>
  <property fmtid="{D5CDD505-2E9C-101B-9397-08002B2CF9AE}" pid="8" name="MSIP_Label_f6a2fad9-126f-43f1-a0a4-9c907561022c_ContentBits">
    <vt:lpwstr>0</vt:lpwstr>
  </property>
</Properties>
</file>